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30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4B00"/>
    <a:srgbClr val="000000"/>
    <a:srgbClr val="575D62"/>
    <a:srgbClr val="404040"/>
    <a:srgbClr val="EBEDF4"/>
    <a:srgbClr val="EDEFF5"/>
    <a:srgbClr val="94EFE3"/>
    <a:srgbClr val="565E61"/>
    <a:srgbClr val="FF0000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6A5741-DF31-45EE-876A-609C2B48CC6C}" v="68" dt="2026-02-23T17:50:16.348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111" d="100"/>
          <a:sy n="111" d="100"/>
        </p:scale>
        <p:origin x="480" y="84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FCA551CB-38FB-4C82-9570-91854B657E87}"/>
    <pc:docChg chg="undo custSel addSld delSld modSld">
      <pc:chgData name="Faure, Didier" userId="791ba54c-1f49-4f2e-b537-01eab0413206" providerId="ADAL" clId="{FCA551CB-38FB-4C82-9570-91854B657E87}" dt="2026-02-24T10:04:34.406" v="730" actId="20577"/>
      <pc:docMkLst>
        <pc:docMk/>
      </pc:docMkLst>
      <pc:sldChg chg="del">
        <pc:chgData name="Faure, Didier" userId="791ba54c-1f49-4f2e-b537-01eab0413206" providerId="ADAL" clId="{FCA551CB-38FB-4C82-9570-91854B657E87}" dt="2026-02-23T17:20:03.226" v="414" actId="47"/>
        <pc:sldMkLst>
          <pc:docMk/>
          <pc:sldMk cId="0" sldId="1042"/>
        </pc:sldMkLst>
      </pc:sldChg>
      <pc:sldChg chg="modSp add del mod">
        <pc:chgData name="Faure, Didier" userId="791ba54c-1f49-4f2e-b537-01eab0413206" providerId="ADAL" clId="{FCA551CB-38FB-4C82-9570-91854B657E87}" dt="2026-02-23T17:23:03.770" v="442" actId="47"/>
        <pc:sldMkLst>
          <pc:docMk/>
          <pc:sldMk cId="4287068887" sldId="2147481528"/>
        </pc:sldMkLst>
        <pc:spChg chg="mod">
          <ac:chgData name="Faure, Didier" userId="791ba54c-1f49-4f2e-b537-01eab0413206" providerId="ADAL" clId="{FCA551CB-38FB-4C82-9570-91854B657E87}" dt="2026-02-23T17:04:59.751" v="288" actId="1076"/>
          <ac:spMkLst>
            <pc:docMk/>
            <pc:sldMk cId="4287068887" sldId="2147481528"/>
            <ac:spMk id="4" creationId="{279CB378-BDCB-C0A4-4E22-FB881C67361B}"/>
          </ac:spMkLst>
        </pc:spChg>
        <pc:spChg chg="mod">
          <ac:chgData name="Faure, Didier" userId="791ba54c-1f49-4f2e-b537-01eab0413206" providerId="ADAL" clId="{FCA551CB-38FB-4C82-9570-91854B657E87}" dt="2026-02-23T16:47:24.487" v="84" actId="20577"/>
          <ac:spMkLst>
            <pc:docMk/>
            <pc:sldMk cId="4287068887" sldId="2147481528"/>
            <ac:spMk id="43" creationId="{1F7E0432-1F21-8AC7-7570-37C7A60BDDC9}"/>
          </ac:spMkLst>
        </pc:spChg>
        <pc:spChg chg="mod">
          <ac:chgData name="Faure, Didier" userId="791ba54c-1f49-4f2e-b537-01eab0413206" providerId="ADAL" clId="{FCA551CB-38FB-4C82-9570-91854B657E87}" dt="2026-02-23T17:04:31.845" v="280" actId="14100"/>
          <ac:spMkLst>
            <pc:docMk/>
            <pc:sldMk cId="4287068887" sldId="2147481528"/>
            <ac:spMk id="52" creationId="{2D983DB6-86B6-2BF3-FCC8-46E7B8EBA5A3}"/>
          </ac:spMkLst>
        </pc:spChg>
        <pc:spChg chg="mod">
          <ac:chgData name="Faure, Didier" userId="791ba54c-1f49-4f2e-b537-01eab0413206" providerId="ADAL" clId="{FCA551CB-38FB-4C82-9570-91854B657E87}" dt="2026-02-23T16:51:31.046" v="91" actId="403"/>
          <ac:spMkLst>
            <pc:docMk/>
            <pc:sldMk cId="4287068887" sldId="2147481528"/>
            <ac:spMk id="62" creationId="{C8150B97-541C-BC17-A789-56F8312ED4DB}"/>
          </ac:spMkLst>
        </pc:spChg>
        <pc:spChg chg="mod">
          <ac:chgData name="Faure, Didier" userId="791ba54c-1f49-4f2e-b537-01eab0413206" providerId="ADAL" clId="{FCA551CB-38FB-4C82-9570-91854B657E87}" dt="2026-02-23T16:49:11.662" v="90" actId="114"/>
          <ac:spMkLst>
            <pc:docMk/>
            <pc:sldMk cId="4287068887" sldId="2147481528"/>
            <ac:spMk id="71" creationId="{E5A51C88-46E7-2DD5-2451-679ADCAD5F63}"/>
          </ac:spMkLst>
        </pc:spChg>
      </pc:sldChg>
      <pc:sldChg chg="add del">
        <pc:chgData name="Faure, Didier" userId="791ba54c-1f49-4f2e-b537-01eab0413206" providerId="ADAL" clId="{FCA551CB-38FB-4C82-9570-91854B657E87}" dt="2026-02-23T17:22:56.889" v="441" actId="47"/>
        <pc:sldMkLst>
          <pc:docMk/>
          <pc:sldMk cId="78212444" sldId="2147481529"/>
        </pc:sldMkLst>
      </pc:sldChg>
      <pc:sldChg chg="addSp delSp modSp add mod">
        <pc:chgData name="Faure, Didier" userId="791ba54c-1f49-4f2e-b537-01eab0413206" providerId="ADAL" clId="{FCA551CB-38FB-4C82-9570-91854B657E87}" dt="2026-02-24T10:04:34.406" v="730" actId="20577"/>
        <pc:sldMkLst>
          <pc:docMk/>
          <pc:sldMk cId="692900910" sldId="2147481530"/>
        </pc:sldMkLst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3" creationId="{66D2F135-3744-7AB4-96C8-548EEE15ED16}"/>
          </ac:spMkLst>
        </pc:spChg>
        <pc:spChg chg="del">
          <ac:chgData name="Faure, Didier" userId="791ba54c-1f49-4f2e-b537-01eab0413206" providerId="ADAL" clId="{FCA551CB-38FB-4C82-9570-91854B657E87}" dt="2026-02-23T17:06:32.584" v="292" actId="478"/>
          <ac:spMkLst>
            <pc:docMk/>
            <pc:sldMk cId="692900910" sldId="2147481530"/>
            <ac:spMk id="4" creationId="{D3CF1A2F-E617-98A7-1895-1540EB212730}"/>
          </ac:spMkLst>
        </pc:spChg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7" creationId="{D58FB399-483D-CBE0-6EC8-9066E04A269C}"/>
          </ac:spMkLst>
        </pc:spChg>
        <pc:spChg chg="add mod">
          <ac:chgData name="Faure, Didier" userId="791ba54c-1f49-4f2e-b537-01eab0413206" providerId="ADAL" clId="{FCA551CB-38FB-4C82-9570-91854B657E87}" dt="2026-02-23T17:06:53.995" v="348" actId="1035"/>
          <ac:spMkLst>
            <pc:docMk/>
            <pc:sldMk cId="692900910" sldId="2147481530"/>
            <ac:spMk id="16" creationId="{60D1BAB6-EA5B-96E2-2D45-8297BF8DB52B}"/>
          </ac:spMkLst>
        </pc:spChg>
        <pc:spChg chg="add del mod">
          <ac:chgData name="Faure, Didier" userId="791ba54c-1f49-4f2e-b537-01eab0413206" providerId="ADAL" clId="{FCA551CB-38FB-4C82-9570-91854B657E87}" dt="2026-02-23T17:07:53.189" v="351" actId="478"/>
          <ac:spMkLst>
            <pc:docMk/>
            <pc:sldMk cId="692900910" sldId="2147481530"/>
            <ac:spMk id="18" creationId="{B7ED220F-53BF-B7C0-C552-457D59A01553}"/>
          </ac:spMkLst>
        </pc:spChg>
        <pc:spChg chg="add mod">
          <ac:chgData name="Faure, Didier" userId="791ba54c-1f49-4f2e-b537-01eab0413206" providerId="ADAL" clId="{FCA551CB-38FB-4C82-9570-91854B657E87}" dt="2026-02-23T17:06:53.995" v="348" actId="1035"/>
          <ac:spMkLst>
            <pc:docMk/>
            <pc:sldMk cId="692900910" sldId="2147481530"/>
            <ac:spMk id="20" creationId="{8CEA2539-DF2F-1714-EAE0-D45715A308DB}"/>
          </ac:spMkLst>
        </pc:spChg>
        <pc:spChg chg="add mod">
          <ac:chgData name="Faure, Didier" userId="791ba54c-1f49-4f2e-b537-01eab0413206" providerId="ADAL" clId="{FCA551CB-38FB-4C82-9570-91854B657E87}" dt="2026-02-23T17:06:53.995" v="348" actId="1035"/>
          <ac:spMkLst>
            <pc:docMk/>
            <pc:sldMk cId="692900910" sldId="2147481530"/>
            <ac:spMk id="22" creationId="{B369EB69-C7F5-8F5D-2E57-2699B773653E}"/>
          </ac:spMkLst>
        </pc:spChg>
        <pc:spChg chg="add mod">
          <ac:chgData name="Faure, Didier" userId="791ba54c-1f49-4f2e-b537-01eab0413206" providerId="ADAL" clId="{FCA551CB-38FB-4C82-9570-91854B657E87}" dt="2026-02-23T17:06:53.995" v="348" actId="1035"/>
          <ac:spMkLst>
            <pc:docMk/>
            <pc:sldMk cId="692900910" sldId="2147481530"/>
            <ac:spMk id="24" creationId="{644134F8-1ADA-A168-1CB7-8FA1B9EBDF3F}"/>
          </ac:spMkLst>
        </pc:spChg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25" creationId="{2195E595-36D1-41CB-2BE6-FF95EA64F0D0}"/>
          </ac:spMkLst>
        </pc:spChg>
        <pc:spChg chg="add del mod">
          <ac:chgData name="Faure, Didier" userId="791ba54c-1f49-4f2e-b537-01eab0413206" providerId="ADAL" clId="{FCA551CB-38FB-4C82-9570-91854B657E87}" dt="2026-02-23T17:09:18.243" v="357" actId="478"/>
          <ac:spMkLst>
            <pc:docMk/>
            <pc:sldMk cId="692900910" sldId="2147481530"/>
            <ac:spMk id="27" creationId="{5B0F39B9-F2CC-A386-5505-5789FD8A9790}"/>
          </ac:spMkLst>
        </pc:spChg>
        <pc:spChg chg="add mod">
          <ac:chgData name="Faure, Didier" userId="791ba54c-1f49-4f2e-b537-01eab0413206" providerId="ADAL" clId="{FCA551CB-38FB-4C82-9570-91854B657E87}" dt="2026-02-23T17:06:53.995" v="348" actId="1035"/>
          <ac:spMkLst>
            <pc:docMk/>
            <pc:sldMk cId="692900910" sldId="2147481530"/>
            <ac:spMk id="30" creationId="{FA24F73A-93E8-7E8E-0124-01B0E75896A9}"/>
          </ac:spMkLst>
        </pc:spChg>
        <pc:spChg chg="add mod ord">
          <ac:chgData name="Faure, Didier" userId="791ba54c-1f49-4f2e-b537-01eab0413206" providerId="ADAL" clId="{FCA551CB-38FB-4C82-9570-91854B657E87}" dt="2026-02-23T17:09:51.527" v="361" actId="1076"/>
          <ac:spMkLst>
            <pc:docMk/>
            <pc:sldMk cId="692900910" sldId="2147481530"/>
            <ac:spMk id="32" creationId="{71203CA6-C002-9539-9371-2AF5C5DB04CD}"/>
          </ac:spMkLst>
        </pc:spChg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34" creationId="{027FA11E-9A3F-52A6-A628-CFD71A183F0B}"/>
          </ac:spMkLst>
        </pc:spChg>
        <pc:spChg chg="add mod">
          <ac:chgData name="Faure, Didier" userId="791ba54c-1f49-4f2e-b537-01eab0413206" providerId="ADAL" clId="{FCA551CB-38FB-4C82-9570-91854B657E87}" dt="2026-02-23T17:18:09.809" v="413" actId="1076"/>
          <ac:spMkLst>
            <pc:docMk/>
            <pc:sldMk cId="692900910" sldId="2147481530"/>
            <ac:spMk id="38" creationId="{D71F7E61-A7C9-060A-28DD-55351836EC82}"/>
          </ac:spMkLst>
        </pc:spChg>
        <pc:spChg chg="add mod">
          <ac:chgData name="Faure, Didier" userId="791ba54c-1f49-4f2e-b537-01eab0413206" providerId="ADAL" clId="{FCA551CB-38FB-4C82-9570-91854B657E87}" dt="2026-02-23T17:51:54.238" v="676" actId="20577"/>
          <ac:spMkLst>
            <pc:docMk/>
            <pc:sldMk cId="692900910" sldId="2147481530"/>
            <ac:spMk id="39" creationId="{F53BD1C5-F8B3-A10B-3E62-48B3047F93C8}"/>
          </ac:spMkLst>
        </pc:spChg>
        <pc:spChg chg="mod">
          <ac:chgData name="Faure, Didier" userId="791ba54c-1f49-4f2e-b537-01eab0413206" providerId="ADAL" clId="{FCA551CB-38FB-4C82-9570-91854B657E87}" dt="2026-02-23T17:46:04.159" v="529" actId="20577"/>
          <ac:spMkLst>
            <pc:docMk/>
            <pc:sldMk cId="692900910" sldId="2147481530"/>
            <ac:spMk id="43" creationId="{323F7A9C-E2B9-6F25-58A9-41D165508377}"/>
          </ac:spMkLst>
        </pc:spChg>
        <pc:spChg chg="mod">
          <ac:chgData name="Faure, Didier" userId="791ba54c-1f49-4f2e-b537-01eab0413206" providerId="ADAL" clId="{FCA551CB-38FB-4C82-9570-91854B657E87}" dt="2026-02-23T17:13:47.801" v="380" actId="14100"/>
          <ac:spMkLst>
            <pc:docMk/>
            <pc:sldMk cId="692900910" sldId="2147481530"/>
            <ac:spMk id="45" creationId="{5E9B7E42-85C5-6002-E456-7E5CC78BF695}"/>
          </ac:spMkLst>
        </pc:spChg>
        <pc:spChg chg="add mod">
          <ac:chgData name="Faure, Didier" userId="791ba54c-1f49-4f2e-b537-01eab0413206" providerId="ADAL" clId="{FCA551CB-38FB-4C82-9570-91854B657E87}" dt="2026-02-23T17:51:12.562" v="654" actId="20577"/>
          <ac:spMkLst>
            <pc:docMk/>
            <pc:sldMk cId="692900910" sldId="2147481530"/>
            <ac:spMk id="49" creationId="{1FAE3721-2E1F-2414-CEAF-451B4C4BA70F}"/>
          </ac:spMkLst>
        </pc:spChg>
        <pc:spChg chg="mod ord">
          <ac:chgData name="Faure, Didier" userId="791ba54c-1f49-4f2e-b537-01eab0413206" providerId="ADAL" clId="{FCA551CB-38FB-4C82-9570-91854B657E87}" dt="2026-02-23T17:17:10.305" v="410" actId="14100"/>
          <ac:spMkLst>
            <pc:docMk/>
            <pc:sldMk cId="692900910" sldId="2147481530"/>
            <ac:spMk id="52" creationId="{4E001AB9-FD49-20B5-4675-DCED404553A8}"/>
          </ac:spMkLst>
        </pc:spChg>
        <pc:spChg chg="mod">
          <ac:chgData name="Faure, Didier" userId="791ba54c-1f49-4f2e-b537-01eab0413206" providerId="ADAL" clId="{FCA551CB-38FB-4C82-9570-91854B657E87}" dt="2026-02-23T17:50:49.583" v="642" actId="1036"/>
          <ac:spMkLst>
            <pc:docMk/>
            <pc:sldMk cId="692900910" sldId="2147481530"/>
            <ac:spMk id="58" creationId="{4D060544-507F-B50A-E347-53FF564B2A56}"/>
          </ac:spMkLst>
        </pc:spChg>
        <pc:spChg chg="mod">
          <ac:chgData name="Faure, Didier" userId="791ba54c-1f49-4f2e-b537-01eab0413206" providerId="ADAL" clId="{FCA551CB-38FB-4C82-9570-91854B657E87}" dt="2026-02-23T17:50:49.583" v="642" actId="1036"/>
          <ac:spMkLst>
            <pc:docMk/>
            <pc:sldMk cId="692900910" sldId="2147481530"/>
            <ac:spMk id="59" creationId="{4A6808A0-4698-52C0-FCA5-0D21C1DE2FE7}"/>
          </ac:spMkLst>
        </pc:spChg>
        <pc:spChg chg="mod">
          <ac:chgData name="Faure, Didier" userId="791ba54c-1f49-4f2e-b537-01eab0413206" providerId="ADAL" clId="{FCA551CB-38FB-4C82-9570-91854B657E87}" dt="2026-02-23T17:50:56.453" v="644" actId="1036"/>
          <ac:spMkLst>
            <pc:docMk/>
            <pc:sldMk cId="692900910" sldId="2147481530"/>
            <ac:spMk id="60" creationId="{10E18F17-EAE3-F638-7327-F5F364F43FAD}"/>
          </ac:spMkLst>
        </pc:spChg>
        <pc:spChg chg="mod">
          <ac:chgData name="Faure, Didier" userId="791ba54c-1f49-4f2e-b537-01eab0413206" providerId="ADAL" clId="{FCA551CB-38FB-4C82-9570-91854B657E87}" dt="2026-02-23T17:50:56.453" v="644" actId="1036"/>
          <ac:spMkLst>
            <pc:docMk/>
            <pc:sldMk cId="692900910" sldId="2147481530"/>
            <ac:spMk id="65" creationId="{C3BA773F-DA0F-7844-C71A-A9258CE00746}"/>
          </ac:spMkLst>
        </pc:spChg>
        <pc:spChg chg="mod">
          <ac:chgData name="Faure, Didier" userId="791ba54c-1f49-4f2e-b537-01eab0413206" providerId="ADAL" clId="{FCA551CB-38FB-4C82-9570-91854B657E87}" dt="2026-02-23T17:23:16.093" v="495" actId="1036"/>
          <ac:spMkLst>
            <pc:docMk/>
            <pc:sldMk cId="692900910" sldId="2147481530"/>
            <ac:spMk id="71" creationId="{469BAD57-7262-A23D-E13B-5B6F9DA13A6E}"/>
          </ac:spMkLst>
        </pc:spChg>
        <pc:spChg chg="mod">
          <ac:chgData name="Faure, Didier" userId="791ba54c-1f49-4f2e-b537-01eab0413206" providerId="ADAL" clId="{FCA551CB-38FB-4C82-9570-91854B657E87}" dt="2026-02-23T17:23:16.093" v="495" actId="1036"/>
          <ac:spMkLst>
            <pc:docMk/>
            <pc:sldMk cId="692900910" sldId="2147481530"/>
            <ac:spMk id="76" creationId="{B3A623C1-517C-3E22-605D-A65D3FA37A57}"/>
          </ac:spMkLst>
        </pc:spChg>
        <pc:spChg chg="mod">
          <ac:chgData name="Faure, Didier" userId="791ba54c-1f49-4f2e-b537-01eab0413206" providerId="ADAL" clId="{FCA551CB-38FB-4C82-9570-91854B657E87}" dt="2026-02-23T17:50:49.583" v="642" actId="1036"/>
          <ac:spMkLst>
            <pc:docMk/>
            <pc:sldMk cId="692900910" sldId="2147481530"/>
            <ac:spMk id="87" creationId="{C4B20457-D251-E685-C853-CC39FEA5ACD8}"/>
          </ac:spMkLst>
        </pc:spChg>
        <pc:spChg chg="mod">
          <ac:chgData name="Faure, Didier" userId="791ba54c-1f49-4f2e-b537-01eab0413206" providerId="ADAL" clId="{FCA551CB-38FB-4C82-9570-91854B657E87}" dt="2026-02-23T17:50:49.583" v="642" actId="1036"/>
          <ac:spMkLst>
            <pc:docMk/>
            <pc:sldMk cId="692900910" sldId="2147481530"/>
            <ac:spMk id="88" creationId="{40A5EC61-1533-BFC5-D8B0-48134E52CB5B}"/>
          </ac:spMkLst>
        </pc:spChg>
        <pc:spChg chg="mod">
          <ac:chgData name="Faure, Didier" userId="791ba54c-1f49-4f2e-b537-01eab0413206" providerId="ADAL" clId="{FCA551CB-38FB-4C82-9570-91854B657E87}" dt="2026-02-24T10:04:34.406" v="730" actId="20577"/>
          <ac:spMkLst>
            <pc:docMk/>
            <pc:sldMk cId="692900910" sldId="2147481530"/>
            <ac:spMk id="89" creationId="{8FA2E538-EB41-D8C0-6CAE-3F97FCC6A91E}"/>
          </ac:spMkLst>
        </pc:spChg>
        <pc:spChg chg="mod">
          <ac:chgData name="Faure, Didier" userId="791ba54c-1f49-4f2e-b537-01eab0413206" providerId="ADAL" clId="{FCA551CB-38FB-4C82-9570-91854B657E87}" dt="2026-02-23T17:23:27.561" v="521" actId="14100"/>
          <ac:spMkLst>
            <pc:docMk/>
            <pc:sldMk cId="692900910" sldId="2147481530"/>
            <ac:spMk id="90" creationId="{A35A921B-1098-F4EF-D403-7AE7E0783CA4}"/>
          </ac:spMkLst>
        </pc:spChg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104" creationId="{46F82740-9B30-C3F3-9D67-82176276B61E}"/>
          </ac:spMkLst>
        </pc:spChg>
        <pc:spChg chg="del">
          <ac:chgData name="Faure, Didier" userId="791ba54c-1f49-4f2e-b537-01eab0413206" providerId="ADAL" clId="{FCA551CB-38FB-4C82-9570-91854B657E87}" dt="2026-02-23T17:06:10.012" v="290" actId="478"/>
          <ac:spMkLst>
            <pc:docMk/>
            <pc:sldMk cId="692900910" sldId="2147481530"/>
            <ac:spMk id="105" creationId="{693D5D0C-306B-6E19-880A-9CCA279A639E}"/>
          </ac:spMkLst>
        </pc:spChg>
        <pc:grpChg chg="mod">
          <ac:chgData name="Faure, Didier" userId="791ba54c-1f49-4f2e-b537-01eab0413206" providerId="ADAL" clId="{FCA551CB-38FB-4C82-9570-91854B657E87}" dt="2026-02-23T17:14:10.165" v="403" actId="1035"/>
          <ac:grpSpMkLst>
            <pc:docMk/>
            <pc:sldMk cId="692900910" sldId="2147481530"/>
            <ac:grpSpMk id="46" creationId="{2A7D7D21-2BA8-E98D-0FB5-871D48942025}"/>
          </ac:grpSpMkLst>
        </pc:grpChg>
        <pc:grpChg chg="mod">
          <ac:chgData name="Faure, Didier" userId="791ba54c-1f49-4f2e-b537-01eab0413206" providerId="ADAL" clId="{FCA551CB-38FB-4C82-9570-91854B657E87}" dt="2026-02-23T17:12:35.683" v="367" actId="14100"/>
          <ac:grpSpMkLst>
            <pc:docMk/>
            <pc:sldMk cId="692900910" sldId="2147481530"/>
            <ac:grpSpMk id="53" creationId="{7B1236B6-645D-13D0-8C16-94E568724BF8}"/>
          </ac:grpSpMkLst>
        </pc:grpChg>
        <pc:picChg chg="del">
          <ac:chgData name="Faure, Didier" userId="791ba54c-1f49-4f2e-b537-01eab0413206" providerId="ADAL" clId="{FCA551CB-38FB-4C82-9570-91854B657E87}" dt="2026-02-23T17:06:10.012" v="290" actId="478"/>
          <ac:picMkLst>
            <pc:docMk/>
            <pc:sldMk cId="692900910" sldId="2147481530"/>
            <ac:picMk id="8" creationId="{4C261A0B-86C8-2BB5-4CCF-19D62F2C5171}"/>
          </ac:picMkLst>
        </pc:picChg>
        <pc:picChg chg="add mod">
          <ac:chgData name="Faure, Didier" userId="791ba54c-1f49-4f2e-b537-01eab0413206" providerId="ADAL" clId="{FCA551CB-38FB-4C82-9570-91854B657E87}" dt="2026-02-23T17:06:53.995" v="348" actId="1035"/>
          <ac:picMkLst>
            <pc:docMk/>
            <pc:sldMk cId="692900910" sldId="2147481530"/>
            <ac:picMk id="13" creationId="{238AA63B-83C4-8A2F-B17B-7F5A28BBE2C9}"/>
          </ac:picMkLst>
        </pc:picChg>
        <pc:picChg chg="mod">
          <ac:chgData name="Faure, Didier" userId="791ba54c-1f49-4f2e-b537-01eab0413206" providerId="ADAL" clId="{FCA551CB-38FB-4C82-9570-91854B657E87}" dt="2026-02-23T17:09:43.479" v="360" actId="1076"/>
          <ac:picMkLst>
            <pc:docMk/>
            <pc:sldMk cId="692900910" sldId="2147481530"/>
            <ac:picMk id="14" creationId="{73D4853D-A035-E78C-3BF7-E976A88FF623}"/>
          </ac:picMkLst>
        </pc:picChg>
        <pc:picChg chg="del">
          <ac:chgData name="Faure, Didier" userId="791ba54c-1f49-4f2e-b537-01eab0413206" providerId="ADAL" clId="{FCA551CB-38FB-4C82-9570-91854B657E87}" dt="2026-02-23T17:06:10.012" v="290" actId="478"/>
          <ac:picMkLst>
            <pc:docMk/>
            <pc:sldMk cId="692900910" sldId="2147481530"/>
            <ac:picMk id="15" creationId="{D06B167D-3E30-D2E6-86EE-C152F480189A}"/>
          </ac:picMkLst>
        </pc:picChg>
        <pc:picChg chg="del">
          <ac:chgData name="Faure, Didier" userId="791ba54c-1f49-4f2e-b537-01eab0413206" providerId="ADAL" clId="{FCA551CB-38FB-4C82-9570-91854B657E87}" dt="2026-02-23T17:06:10.012" v="290" actId="478"/>
          <ac:picMkLst>
            <pc:docMk/>
            <pc:sldMk cId="692900910" sldId="2147481530"/>
            <ac:picMk id="17" creationId="{906BFED9-FA9B-0898-FF3C-6EF4E84D5EC1}"/>
          </ac:picMkLst>
        </pc:picChg>
        <pc:picChg chg="del">
          <ac:chgData name="Faure, Didier" userId="791ba54c-1f49-4f2e-b537-01eab0413206" providerId="ADAL" clId="{FCA551CB-38FB-4C82-9570-91854B657E87}" dt="2026-02-23T17:06:10.012" v="290" actId="478"/>
          <ac:picMkLst>
            <pc:docMk/>
            <pc:sldMk cId="692900910" sldId="2147481530"/>
            <ac:picMk id="19" creationId="{5868B6C8-B5F9-92D2-86F8-A830664E37E8}"/>
          </ac:picMkLst>
        </pc:picChg>
        <pc:picChg chg="del">
          <ac:chgData name="Faure, Didier" userId="791ba54c-1f49-4f2e-b537-01eab0413206" providerId="ADAL" clId="{FCA551CB-38FB-4C82-9570-91854B657E87}" dt="2026-02-23T17:06:27.081" v="291" actId="478"/>
          <ac:picMkLst>
            <pc:docMk/>
            <pc:sldMk cId="692900910" sldId="2147481530"/>
            <ac:picMk id="21" creationId="{4E393B2C-F3FE-A480-1C65-705CD8647B6D}"/>
          </ac:picMkLst>
        </pc:picChg>
        <pc:picChg chg="add mod">
          <ac:chgData name="Faure, Didier" userId="791ba54c-1f49-4f2e-b537-01eab0413206" providerId="ADAL" clId="{FCA551CB-38FB-4C82-9570-91854B657E87}" dt="2026-02-23T17:06:53.995" v="348" actId="1035"/>
          <ac:picMkLst>
            <pc:docMk/>
            <pc:sldMk cId="692900910" sldId="2147481530"/>
            <ac:picMk id="23" creationId="{A57C6E71-53AC-9EB3-4F9F-9B88C15A17B9}"/>
          </ac:picMkLst>
        </pc:picChg>
        <pc:picChg chg="add mod">
          <ac:chgData name="Faure, Didier" userId="791ba54c-1f49-4f2e-b537-01eab0413206" providerId="ADAL" clId="{FCA551CB-38FB-4C82-9570-91854B657E87}" dt="2026-02-23T17:06:53.995" v="348" actId="1035"/>
          <ac:picMkLst>
            <pc:docMk/>
            <pc:sldMk cId="692900910" sldId="2147481530"/>
            <ac:picMk id="31" creationId="{B8E7B702-8A1C-1AF4-D8D1-C472EB86E49B}"/>
          </ac:picMkLst>
        </pc:picChg>
        <pc:cxnChg chg="mod ord">
          <ac:chgData name="Faure, Didier" userId="791ba54c-1f49-4f2e-b537-01eab0413206" providerId="ADAL" clId="{FCA551CB-38FB-4C82-9570-91854B657E87}" dt="2026-02-23T17:10:29.883" v="364" actId="14100"/>
          <ac:cxnSpMkLst>
            <pc:docMk/>
            <pc:sldMk cId="692900910" sldId="2147481530"/>
            <ac:cxnSpMk id="26" creationId="{4D6FE556-5978-1E39-ECE5-EE1DBEF3C467}"/>
          </ac:cxnSpMkLst>
        </pc:cxnChg>
      </pc:sldChg>
      <pc:sldMasterChg chg="delSldLayout">
        <pc:chgData name="Faure, Didier" userId="791ba54c-1f49-4f2e-b537-01eab0413206" providerId="ADAL" clId="{FCA551CB-38FB-4C82-9570-91854B657E87}" dt="2026-02-23T17:20:03.226" v="414" actId="47"/>
        <pc:sldMasterMkLst>
          <pc:docMk/>
          <pc:sldMasterMk cId="4281836575" sldId="2147483697"/>
        </pc:sldMasterMkLst>
        <pc:sldLayoutChg chg="del">
          <pc:chgData name="Faure, Didier" userId="791ba54c-1f49-4f2e-b537-01eab0413206" providerId="ADAL" clId="{FCA551CB-38FB-4C82-9570-91854B657E87}" dt="2026-02-23T17:20:03.226" v="414" actId="47"/>
          <pc:sldLayoutMkLst>
            <pc:docMk/>
            <pc:sldMasterMk cId="4281836575" sldId="2147483697"/>
            <pc:sldLayoutMk cId="3450129415" sldId="214748370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2/202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2/2026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24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970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0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0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image" Target="../media/image13.jpe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microsoft.com/office/2007/relationships/hdphoto" Target="../media/hdphoto3.wdp"/><Relationship Id="rId11" Type="http://schemas.openxmlformats.org/officeDocument/2006/relationships/image" Target="../media/image18.png"/><Relationship Id="rId5" Type="http://schemas.openxmlformats.org/officeDocument/2006/relationships/image" Target="../media/image16.png"/><Relationship Id="rId15" Type="http://schemas.openxmlformats.org/officeDocument/2006/relationships/image" Target="../media/image22.png"/><Relationship Id="rId10" Type="http://schemas.openxmlformats.org/officeDocument/2006/relationships/image" Target="../media/image10.svg"/><Relationship Id="rId4" Type="http://schemas.openxmlformats.org/officeDocument/2006/relationships/image" Target="../media/image15.png"/><Relationship Id="rId9" Type="http://schemas.openxmlformats.org/officeDocument/2006/relationships/image" Target="../media/image9.pn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6B3BA-9E98-7B6C-3915-C74F6CF69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1EFCE7C3-4748-86F1-1345-5831CFAF4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235" y="1772053"/>
            <a:ext cx="583251" cy="583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6AEB09E-E0F2-783D-C75E-13CF4AFD7C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6881" y="2290622"/>
            <a:ext cx="917187" cy="189530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8A23B49-928C-A099-BF37-2B82C68F1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7671" y="4477512"/>
            <a:ext cx="2308301" cy="2070507"/>
          </a:xfrm>
          <a:prstGeom prst="rect">
            <a:avLst/>
          </a:prstGeom>
        </p:spPr>
      </p:pic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5E9B7E42-85C5-6002-E456-7E5CC78BF695}"/>
              </a:ext>
            </a:extLst>
          </p:cNvPr>
          <p:cNvSpPr txBox="1">
            <a:spLocks/>
          </p:cNvSpPr>
          <p:nvPr/>
        </p:nvSpPr>
        <p:spPr>
          <a:xfrm>
            <a:off x="2631787" y="1789250"/>
            <a:ext cx="6800449" cy="1115543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altLang="fr-FR" sz="1100" dirty="0" err="1"/>
              <a:t>When</a:t>
            </a:r>
            <a:r>
              <a:rPr lang="fr-FR" altLang="fr-FR" sz="1100" dirty="0"/>
              <a:t> </a:t>
            </a:r>
            <a:r>
              <a:rPr lang="fr-FR" altLang="fr-FR" sz="1100" dirty="0" err="1"/>
              <a:t>located</a:t>
            </a:r>
            <a:r>
              <a:rPr lang="fr-FR" altLang="fr-FR" sz="1100" dirty="0"/>
              <a:t> on the rotary union, central area of the blower, the encoder can </a:t>
            </a:r>
            <a:r>
              <a:rPr lang="fr-FR" altLang="fr-FR" sz="1100" dirty="0" err="1"/>
              <a:t>be</a:t>
            </a:r>
            <a:r>
              <a:rPr lang="fr-FR" altLang="fr-FR" sz="1100" dirty="0"/>
              <a:t> </a:t>
            </a:r>
            <a:r>
              <a:rPr lang="fr-FR" altLang="fr-FR" sz="1100" dirty="0" err="1"/>
              <a:t>subject</a:t>
            </a:r>
            <a:r>
              <a:rPr lang="fr-FR" altLang="fr-FR" sz="1100" dirty="0"/>
              <a:t> to vibrations </a:t>
            </a:r>
            <a:r>
              <a:rPr lang="fr-FR" altLang="fr-FR" sz="1100" dirty="0" err="1"/>
              <a:t>generated</a:t>
            </a:r>
            <a:r>
              <a:rPr lang="fr-FR" altLang="fr-FR" sz="1100" dirty="0"/>
              <a:t> by the </a:t>
            </a:r>
            <a:r>
              <a:rPr lang="fr-FR" altLang="fr-FR" sz="1100" dirty="0" err="1"/>
              <a:t>blowing</a:t>
            </a:r>
            <a:r>
              <a:rPr lang="fr-FR" altLang="fr-FR" sz="1100" dirty="0"/>
              <a:t> </a:t>
            </a:r>
            <a:r>
              <a:rPr lang="fr-FR" altLang="fr-FR" sz="1100" dirty="0" err="1"/>
              <a:t>wheel</a:t>
            </a:r>
            <a:r>
              <a:rPr lang="fr-FR" altLang="fr-FR" sz="1100" dirty="0"/>
              <a:t> rotation, </a:t>
            </a:r>
            <a:r>
              <a:rPr lang="fr-FR" altLang="fr-FR" sz="1100" dirty="0" err="1"/>
              <a:t>that</a:t>
            </a:r>
            <a:r>
              <a:rPr lang="fr-FR" altLang="fr-FR" sz="1100" dirty="0"/>
              <a:t> </a:t>
            </a:r>
            <a:r>
              <a:rPr lang="fr-FR" altLang="fr-FR" sz="1100" dirty="0" err="1"/>
              <a:t>could</a:t>
            </a:r>
            <a:r>
              <a:rPr lang="fr-FR" altLang="fr-FR" sz="1100" dirty="0"/>
              <a:t> </a:t>
            </a:r>
          </a:p>
          <a:p>
            <a:r>
              <a:rPr lang="en-US" sz="1100" dirty="0"/>
              <a:t>create misreading of the encoder which could lead to PLC synchronization errors (machine stoppage)</a:t>
            </a:r>
          </a:p>
          <a:p>
            <a:r>
              <a:rPr lang="fr-FR" altLang="fr-FR" sz="1100" noProof="1"/>
              <a:t>maintenance operation is difficult (access in height in a crowded area).</a:t>
            </a:r>
            <a:endParaRPr lang="en-US" altLang="fr-FR" sz="1100" dirty="0"/>
          </a:p>
          <a:p>
            <a:pPr marL="0" indent="0" eaLnBrk="0" hangingPunct="0">
              <a:spcBef>
                <a:spcPct val="45000"/>
              </a:spcBef>
              <a:buClr>
                <a:srgbClr val="E64B00"/>
              </a:buClr>
              <a:buNone/>
              <a:defRPr/>
            </a:pPr>
            <a:r>
              <a:rPr lang="en-US" sz="1100" dirty="0"/>
              <a:t>The encoder is relocated from the central area of the blowing wheel, to the moto-reductor driving shaft.</a:t>
            </a:r>
          </a:p>
          <a:p>
            <a:pPr marL="463550" lvl="1" indent="-285750">
              <a:buClr>
                <a:srgbClr val="E74B00"/>
              </a:buClr>
            </a:pPr>
            <a:endParaRPr lang="fr-FR" sz="900" dirty="0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2A7D7D21-2BA8-E98D-0FB5-871D48942025}"/>
              </a:ext>
            </a:extLst>
          </p:cNvPr>
          <p:cNvGrpSpPr/>
          <p:nvPr/>
        </p:nvGrpSpPr>
        <p:grpSpPr>
          <a:xfrm>
            <a:off x="2664379" y="3031908"/>
            <a:ext cx="6786628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80F6557F-32D0-9FFD-51E8-BC96CAD91184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E8D905B6-8418-6BC2-FE86-D02611816558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7B1236B6-645D-13D0-8C16-94E568724BF8}"/>
              </a:ext>
            </a:extLst>
          </p:cNvPr>
          <p:cNvGrpSpPr/>
          <p:nvPr/>
        </p:nvGrpSpPr>
        <p:grpSpPr>
          <a:xfrm>
            <a:off x="2639113" y="1484348"/>
            <a:ext cx="6800449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52CD3DC3-55AB-4BEA-E571-9B03D567D905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D8A7E430-CC21-5573-66AC-D0AD5893C51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PT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65D4E549-310C-1D5B-7B06-B1FE6D532DEF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altLang="fr-FR" sz="2600" b="1" dirty="0">
                <a:solidFill>
                  <a:srgbClr val="E74B00"/>
                </a:solidFill>
                <a:cs typeface="Arial" panose="020B0604020202020204" pitchFamily="34" charset="0"/>
              </a:rPr>
              <a:t>Secure </a:t>
            </a:r>
            <a:r>
              <a:rPr lang="fr-FR" altLang="fr-FR" sz="2600" b="1" dirty="0" err="1">
                <a:solidFill>
                  <a:srgbClr val="E74B00"/>
                </a:solidFill>
                <a:cs typeface="Arial" panose="020B0604020202020204" pitchFamily="34" charset="0"/>
              </a:rPr>
              <a:t>your</a:t>
            </a:r>
            <a:r>
              <a:rPr lang="fr-FR" altLang="fr-FR" sz="2600" b="1" dirty="0">
                <a:solidFill>
                  <a:srgbClr val="E74B00"/>
                </a:solidFill>
                <a:cs typeface="Arial" panose="020B0604020202020204" pitchFamily="34" charset="0"/>
              </a:rPr>
              <a:t> Matrix Blower uptime</a:t>
            </a:r>
            <a:endParaRPr lang="en-GB" sz="26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76B5657D-4902-FDC9-9949-E600B48E6802}"/>
              </a:ext>
            </a:extLst>
          </p:cNvPr>
          <p:cNvSpPr txBox="1">
            <a:spLocks/>
          </p:cNvSpPr>
          <p:nvPr/>
        </p:nvSpPr>
        <p:spPr>
          <a:xfrm>
            <a:off x="2621378" y="746312"/>
            <a:ext cx="6786628" cy="6868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E74B00"/>
                </a:solidFill>
              </a:rPr>
              <a:t>O&amp;U ref 2061 </a:t>
            </a:r>
            <a:r>
              <a:rPr lang="en-US" sz="2400" dirty="0"/>
              <a:t>-  Encoder relocation </a:t>
            </a:r>
            <a:br>
              <a:rPr lang="en-US" sz="2000" dirty="0"/>
            </a:br>
            <a:r>
              <a:rPr lang="en-US" sz="2000" dirty="0"/>
              <a:t>&amp; BAUMER encoder obsolescence for Matrix</a:t>
            </a:r>
            <a:endParaRPr lang="it-IT" sz="2000" dirty="0"/>
          </a:p>
        </p:txBody>
      </p:sp>
      <p:sp>
        <p:nvSpPr>
          <p:cNvPr id="77" name="Rettangolo 40">
            <a:extLst>
              <a:ext uri="{FF2B5EF4-FFF2-40B4-BE49-F238E27FC236}">
                <a16:creationId xmlns:a16="http://schemas.microsoft.com/office/drawing/2014/main" id="{D77B5FEA-EA42-16CC-D88A-939E0B3A0740}"/>
              </a:ext>
            </a:extLst>
          </p:cNvPr>
          <p:cNvSpPr/>
          <p:nvPr/>
        </p:nvSpPr>
        <p:spPr>
          <a:xfrm>
            <a:off x="9544878" y="1788319"/>
            <a:ext cx="2259562" cy="4691855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328FF1CF-928C-62AF-66AB-F3BFD16C0D45}"/>
              </a:ext>
            </a:extLst>
          </p:cNvPr>
          <p:cNvSpPr/>
          <p:nvPr/>
        </p:nvSpPr>
        <p:spPr>
          <a:xfrm>
            <a:off x="9489109" y="377702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1DE263D5-4BB4-DDE9-BFAD-D5C3E397D00E}"/>
              </a:ext>
            </a:extLst>
          </p:cNvPr>
          <p:cNvSpPr txBox="1">
            <a:spLocks/>
          </p:cNvSpPr>
          <p:nvPr/>
        </p:nvSpPr>
        <p:spPr>
          <a:xfrm>
            <a:off x="9657298" y="377825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Efficiency</a:t>
            </a:r>
          </a:p>
        </p:txBody>
      </p:sp>
      <p:sp>
        <p:nvSpPr>
          <p:cNvPr id="29" name="Flèche : droite 28">
            <a:extLst>
              <a:ext uri="{FF2B5EF4-FFF2-40B4-BE49-F238E27FC236}">
                <a16:creationId xmlns:a16="http://schemas.microsoft.com/office/drawing/2014/main" id="{481BE6AC-4B1C-ECDB-9447-FE1A22F4383F}"/>
              </a:ext>
            </a:extLst>
          </p:cNvPr>
          <p:cNvSpPr/>
          <p:nvPr/>
        </p:nvSpPr>
        <p:spPr>
          <a:xfrm rot="5400000">
            <a:off x="10427370" y="4318431"/>
            <a:ext cx="577553" cy="404791"/>
          </a:xfrm>
          <a:prstGeom prst="rightArrow">
            <a:avLst/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40" name="Gruppo 41">
            <a:extLst>
              <a:ext uri="{FF2B5EF4-FFF2-40B4-BE49-F238E27FC236}">
                <a16:creationId xmlns:a16="http://schemas.microsoft.com/office/drawing/2014/main" id="{81ACF10A-CA8B-0960-67FC-03DC10047941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41" name="Immagine 50">
              <a:extLst>
                <a:ext uri="{FF2B5EF4-FFF2-40B4-BE49-F238E27FC236}">
                  <a16:creationId xmlns:a16="http://schemas.microsoft.com/office/drawing/2014/main" id="{F6881EEF-FCCA-EAA9-C009-2BEF6894D3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42" name="Immagine 51">
              <a:extLst>
                <a:ext uri="{FF2B5EF4-FFF2-40B4-BE49-F238E27FC236}">
                  <a16:creationId xmlns:a16="http://schemas.microsoft.com/office/drawing/2014/main" id="{347ACAD7-0E18-DA7B-E21E-B277890BDD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hq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43" name="Segnaposto testo 13">
            <a:extLst>
              <a:ext uri="{FF2B5EF4-FFF2-40B4-BE49-F238E27FC236}">
                <a16:creationId xmlns:a16="http://schemas.microsoft.com/office/drawing/2014/main" id="{323F7A9C-E2B9-6F25-58A9-41D165508377}"/>
              </a:ext>
            </a:extLst>
          </p:cNvPr>
          <p:cNvSpPr txBox="1">
            <a:spLocks/>
          </p:cNvSpPr>
          <p:nvPr/>
        </p:nvSpPr>
        <p:spPr>
          <a:xfrm>
            <a:off x="210382" y="1510276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 12 k€</a:t>
            </a:r>
          </a:p>
          <a:p>
            <a:endParaRPr lang="it-IT" dirty="0"/>
          </a:p>
          <a:p>
            <a:endParaRPr lang="it-IT" dirty="0"/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71009267-824F-427B-7484-94441008D528}"/>
              </a:ext>
            </a:extLst>
          </p:cNvPr>
          <p:cNvSpPr txBox="1"/>
          <p:nvPr/>
        </p:nvSpPr>
        <p:spPr>
          <a:xfrm>
            <a:off x="199050" y="128270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6" name="Segnaposto testo 13">
            <a:extLst>
              <a:ext uri="{FF2B5EF4-FFF2-40B4-BE49-F238E27FC236}">
                <a16:creationId xmlns:a16="http://schemas.microsoft.com/office/drawing/2014/main" id="{F6F877BE-ED67-C97A-42B9-38B525D3F858}"/>
              </a:ext>
            </a:extLst>
          </p:cNvPr>
          <p:cNvSpPr txBox="1">
            <a:spLocks/>
          </p:cNvSpPr>
          <p:nvPr/>
        </p:nvSpPr>
        <p:spPr>
          <a:xfrm>
            <a:off x="199050" y="2091866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58" name="Segnaposto testo 13">
            <a:extLst>
              <a:ext uri="{FF2B5EF4-FFF2-40B4-BE49-F238E27FC236}">
                <a16:creationId xmlns:a16="http://schemas.microsoft.com/office/drawing/2014/main" id="{4D060544-507F-B50A-E347-53FF564B2A56}"/>
              </a:ext>
            </a:extLst>
          </p:cNvPr>
          <p:cNvSpPr txBox="1">
            <a:spLocks/>
          </p:cNvSpPr>
          <p:nvPr/>
        </p:nvSpPr>
        <p:spPr>
          <a:xfrm>
            <a:off x="207910" y="2711513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 days / 2 m*d</a:t>
            </a:r>
          </a:p>
        </p:txBody>
      </p:sp>
      <p:sp>
        <p:nvSpPr>
          <p:cNvPr id="59" name="TextBox 9">
            <a:extLst>
              <a:ext uri="{FF2B5EF4-FFF2-40B4-BE49-F238E27FC236}">
                <a16:creationId xmlns:a16="http://schemas.microsoft.com/office/drawing/2014/main" id="{4A6808A0-4698-52C0-FCA5-0D21C1DE2FE7}"/>
              </a:ext>
            </a:extLst>
          </p:cNvPr>
          <p:cNvSpPr txBox="1"/>
          <p:nvPr/>
        </p:nvSpPr>
        <p:spPr>
          <a:xfrm>
            <a:off x="207910" y="249967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0" name="Segnaposto testo 13">
            <a:extLst>
              <a:ext uri="{FF2B5EF4-FFF2-40B4-BE49-F238E27FC236}">
                <a16:creationId xmlns:a16="http://schemas.microsoft.com/office/drawing/2014/main" id="{10E18F17-EAE3-F638-7327-F5F364F43FAD}"/>
              </a:ext>
            </a:extLst>
          </p:cNvPr>
          <p:cNvSpPr txBox="1">
            <a:spLocks/>
          </p:cNvSpPr>
          <p:nvPr/>
        </p:nvSpPr>
        <p:spPr>
          <a:xfrm>
            <a:off x="199050" y="3295069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 days</a:t>
            </a:r>
          </a:p>
        </p:txBody>
      </p:sp>
      <p:sp>
        <p:nvSpPr>
          <p:cNvPr id="65" name="TextBox 9">
            <a:extLst>
              <a:ext uri="{FF2B5EF4-FFF2-40B4-BE49-F238E27FC236}">
                <a16:creationId xmlns:a16="http://schemas.microsoft.com/office/drawing/2014/main" id="{C3BA773F-DA0F-7844-C71A-A9258CE00746}"/>
              </a:ext>
            </a:extLst>
          </p:cNvPr>
          <p:cNvSpPr txBox="1"/>
          <p:nvPr/>
        </p:nvSpPr>
        <p:spPr>
          <a:xfrm>
            <a:off x="199050" y="308323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 : </a:t>
            </a:r>
          </a:p>
        </p:txBody>
      </p:sp>
      <p:sp>
        <p:nvSpPr>
          <p:cNvPr id="66" name="Segnaposto testo 13">
            <a:extLst>
              <a:ext uri="{FF2B5EF4-FFF2-40B4-BE49-F238E27FC236}">
                <a16:creationId xmlns:a16="http://schemas.microsoft.com/office/drawing/2014/main" id="{981CA300-F611-0C73-603D-69D34D129D58}"/>
              </a:ext>
            </a:extLst>
          </p:cNvPr>
          <p:cNvSpPr txBox="1">
            <a:spLocks/>
          </p:cNvSpPr>
          <p:nvPr/>
        </p:nvSpPr>
        <p:spPr>
          <a:xfrm>
            <a:off x="89011" y="4239280"/>
            <a:ext cx="2212421" cy="360000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* </a:t>
            </a:r>
            <a:r>
              <a:rPr lang="it-IT" sz="700" dirty="0">
                <a:solidFill>
                  <a:srgbClr val="FFFFFF"/>
                </a:solidFill>
              </a:rPr>
              <a:t>These data are approximate and not definitive, depending on your machine configuration.</a:t>
            </a:r>
            <a:endParaRPr lang="fr-FR" sz="700" dirty="0">
              <a:ea typeface="Calibri"/>
              <a:cs typeface="Calibri"/>
            </a:endParaRPr>
          </a:p>
        </p:txBody>
      </p:sp>
      <p:sp>
        <p:nvSpPr>
          <p:cNvPr id="71" name="Segnaposto testo 13">
            <a:extLst>
              <a:ext uri="{FF2B5EF4-FFF2-40B4-BE49-F238E27FC236}">
                <a16:creationId xmlns:a16="http://schemas.microsoft.com/office/drawing/2014/main" id="{469BAD57-7262-A23D-E13B-5B6F9DA13A6E}"/>
              </a:ext>
            </a:extLst>
          </p:cNvPr>
          <p:cNvSpPr txBox="1">
            <a:spLocks/>
          </p:cNvSpPr>
          <p:nvPr/>
        </p:nvSpPr>
        <p:spPr>
          <a:xfrm>
            <a:off x="187081" y="6300118"/>
            <a:ext cx="1963125" cy="549169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b="1" dirty="0"/>
              <a:t>Matrix </a:t>
            </a:r>
            <a:r>
              <a:rPr lang="it-IT" sz="1200" i="1" dirty="0"/>
              <a:t>early generation</a:t>
            </a:r>
          </a:p>
          <a:p>
            <a:pPr marL="99060" indent="-99060">
              <a:buClr>
                <a:srgbClr val="E74B00"/>
              </a:buClr>
            </a:pPr>
            <a:endParaRPr lang="it-IT" sz="1200" dirty="0">
              <a:ea typeface="Calibri"/>
              <a:cs typeface="Calibri"/>
            </a:endParaRPr>
          </a:p>
        </p:txBody>
      </p:sp>
      <p:sp>
        <p:nvSpPr>
          <p:cNvPr id="76" name="TextBox 9">
            <a:extLst>
              <a:ext uri="{FF2B5EF4-FFF2-40B4-BE49-F238E27FC236}">
                <a16:creationId xmlns:a16="http://schemas.microsoft.com/office/drawing/2014/main" id="{B3A623C1-517C-3E22-605D-A65D3FA37A57}"/>
              </a:ext>
            </a:extLst>
          </p:cNvPr>
          <p:cNvSpPr txBox="1"/>
          <p:nvPr/>
        </p:nvSpPr>
        <p:spPr>
          <a:xfrm>
            <a:off x="187081" y="6071730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8" name="TextBox 9">
            <a:extLst>
              <a:ext uri="{FF2B5EF4-FFF2-40B4-BE49-F238E27FC236}">
                <a16:creationId xmlns:a16="http://schemas.microsoft.com/office/drawing/2014/main" id="{9FEFFBF4-82A6-558C-3FEE-14305503F29C}"/>
              </a:ext>
            </a:extLst>
          </p:cNvPr>
          <p:cNvSpPr txBox="1"/>
          <p:nvPr/>
        </p:nvSpPr>
        <p:spPr>
          <a:xfrm>
            <a:off x="199050" y="934388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79" name="Elemento grafico 64">
            <a:extLst>
              <a:ext uri="{FF2B5EF4-FFF2-40B4-BE49-F238E27FC236}">
                <a16:creationId xmlns:a16="http://schemas.microsoft.com/office/drawing/2014/main" id="{09E51349-EA98-2B94-190D-4F4A33106BC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6" name="Rettangolo 44">
            <a:extLst>
              <a:ext uri="{FF2B5EF4-FFF2-40B4-BE49-F238E27FC236}">
                <a16:creationId xmlns:a16="http://schemas.microsoft.com/office/drawing/2014/main" id="{B7F9FD5A-B00E-47FC-100E-C25E01318DFD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7" name="Segnaposto testo 13">
            <a:extLst>
              <a:ext uri="{FF2B5EF4-FFF2-40B4-BE49-F238E27FC236}">
                <a16:creationId xmlns:a16="http://schemas.microsoft.com/office/drawing/2014/main" id="{C4B20457-D251-E685-C853-CC39FEA5ACD8}"/>
              </a:ext>
            </a:extLst>
          </p:cNvPr>
          <p:cNvSpPr txBox="1">
            <a:spLocks/>
          </p:cNvSpPr>
          <p:nvPr/>
        </p:nvSpPr>
        <p:spPr>
          <a:xfrm>
            <a:off x="199050" y="3897253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0 weeks</a:t>
            </a:r>
          </a:p>
        </p:txBody>
      </p:sp>
      <p:sp>
        <p:nvSpPr>
          <p:cNvPr id="88" name="TextBox 9">
            <a:extLst>
              <a:ext uri="{FF2B5EF4-FFF2-40B4-BE49-F238E27FC236}">
                <a16:creationId xmlns:a16="http://schemas.microsoft.com/office/drawing/2014/main" id="{40A5EC61-1533-BFC5-D8B0-48134E52CB5B}"/>
              </a:ext>
            </a:extLst>
          </p:cNvPr>
          <p:cNvSpPr txBox="1"/>
          <p:nvPr/>
        </p:nvSpPr>
        <p:spPr>
          <a:xfrm>
            <a:off x="199050" y="365091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Lead time to deliver : </a:t>
            </a:r>
          </a:p>
        </p:txBody>
      </p:sp>
      <p:sp>
        <p:nvSpPr>
          <p:cNvPr id="89" name="Segnaposto testo 13">
            <a:extLst>
              <a:ext uri="{FF2B5EF4-FFF2-40B4-BE49-F238E27FC236}">
                <a16:creationId xmlns:a16="http://schemas.microsoft.com/office/drawing/2014/main" id="{8FA2E538-EB41-D8C0-6CAE-3F97FCC6A91E}"/>
              </a:ext>
            </a:extLst>
          </p:cNvPr>
          <p:cNvSpPr txBox="1">
            <a:spLocks/>
          </p:cNvSpPr>
          <p:nvPr/>
        </p:nvSpPr>
        <p:spPr>
          <a:xfrm>
            <a:off x="187081" y="4998139"/>
            <a:ext cx="1963125" cy="1016052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dirty="0"/>
              <a:t> PCC Obsolescence </a:t>
            </a:r>
            <a:r>
              <a:rPr lang="it-IT" sz="1200"/>
              <a:t>#OCB006</a:t>
            </a:r>
            <a:endParaRPr lang="it-IT" sz="1200" dirty="0"/>
          </a:p>
          <a:p>
            <a:pPr marL="99060" indent="-99060">
              <a:buClr>
                <a:srgbClr val="E74B00"/>
              </a:buClr>
            </a:pPr>
            <a:r>
              <a:rPr lang="it-IT" sz="1200" dirty="0">
                <a:solidFill>
                  <a:srgbClr val="000000"/>
                </a:solidFill>
              </a:rPr>
              <a:t> </a:t>
            </a:r>
            <a:r>
              <a:rPr lang="it-IT" sz="1200" dirty="0"/>
              <a:t>HMI migration to W10</a:t>
            </a:r>
            <a:br>
              <a:rPr lang="it-IT" sz="1200" dirty="0"/>
            </a:br>
            <a:r>
              <a:rPr lang="it-IT" sz="1200" dirty="0"/>
              <a:t> #2096</a:t>
            </a:r>
          </a:p>
          <a:p>
            <a:pPr marL="99060" indent="-99060">
              <a:buClr>
                <a:srgbClr val="E74B00"/>
              </a:buClr>
            </a:pPr>
            <a:endParaRPr lang="it-IT" sz="1200" dirty="0">
              <a:solidFill>
                <a:srgbClr val="000000"/>
              </a:solidFill>
            </a:endParaRPr>
          </a:p>
          <a:p>
            <a:pPr marL="99060" indent="-99060">
              <a:buClr>
                <a:srgbClr val="E74B00"/>
              </a:buClr>
            </a:pPr>
            <a:endParaRPr lang="it-IT" sz="1200" dirty="0">
              <a:ea typeface="Calibri"/>
              <a:cs typeface="Calibri"/>
            </a:endParaRPr>
          </a:p>
        </p:txBody>
      </p:sp>
      <p:sp>
        <p:nvSpPr>
          <p:cNvPr id="90" name="TextBox 9">
            <a:extLst>
              <a:ext uri="{FF2B5EF4-FFF2-40B4-BE49-F238E27FC236}">
                <a16:creationId xmlns:a16="http://schemas.microsoft.com/office/drawing/2014/main" id="{A35A921B-1098-F4EF-D403-7AE7E0783CA4}"/>
              </a:ext>
            </a:extLst>
          </p:cNvPr>
          <p:cNvSpPr txBox="1"/>
          <p:nvPr/>
        </p:nvSpPr>
        <p:spPr>
          <a:xfrm>
            <a:off x="187081" y="4803604"/>
            <a:ext cx="1974457" cy="21275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an be bundle with:</a:t>
            </a:r>
            <a:endParaRPr lang="fr-FR" dirty="0"/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id="{A5F56B94-DBA3-E5D0-2132-9927AE907A77}"/>
              </a:ext>
            </a:extLst>
          </p:cNvPr>
          <p:cNvSpPr txBox="1"/>
          <p:nvPr/>
        </p:nvSpPr>
        <p:spPr>
          <a:xfrm>
            <a:off x="9584942" y="1880625"/>
            <a:ext cx="4696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err="1">
                <a:solidFill>
                  <a:srgbClr val="E74B00"/>
                </a:solidFill>
              </a:rPr>
              <a:t>before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sp>
        <p:nvSpPr>
          <p:cNvPr id="108" name="ZoneTexte 107">
            <a:extLst>
              <a:ext uri="{FF2B5EF4-FFF2-40B4-BE49-F238E27FC236}">
                <a16:creationId xmlns:a16="http://schemas.microsoft.com/office/drawing/2014/main" id="{B3258027-5EE0-7821-9C85-3C49614C265A}"/>
              </a:ext>
            </a:extLst>
          </p:cNvPr>
          <p:cNvSpPr txBox="1"/>
          <p:nvPr/>
        </p:nvSpPr>
        <p:spPr>
          <a:xfrm>
            <a:off x="9657298" y="4935397"/>
            <a:ext cx="1896865" cy="2428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200" b="1" i="1" dirty="0" err="1">
                <a:solidFill>
                  <a:srgbClr val="E74B00"/>
                </a:solidFill>
              </a:rPr>
              <a:t>after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sp>
        <p:nvSpPr>
          <p:cNvPr id="5" name="Rettangolo arrotondato 79">
            <a:extLst>
              <a:ext uri="{FF2B5EF4-FFF2-40B4-BE49-F238E27FC236}">
                <a16:creationId xmlns:a16="http://schemas.microsoft.com/office/drawing/2014/main" id="{71BCD6C5-8E1D-89DE-8531-E200BC1827E2}"/>
              </a:ext>
            </a:extLst>
          </p:cNvPr>
          <p:cNvSpPr/>
          <p:nvPr/>
        </p:nvSpPr>
        <p:spPr>
          <a:xfrm>
            <a:off x="9519726" y="859425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6" name="Segnaposto testo 71">
            <a:extLst>
              <a:ext uri="{FF2B5EF4-FFF2-40B4-BE49-F238E27FC236}">
                <a16:creationId xmlns:a16="http://schemas.microsoft.com/office/drawing/2014/main" id="{BBC29295-8132-BF98-BDF8-3F28BB133350}"/>
              </a:ext>
            </a:extLst>
          </p:cNvPr>
          <p:cNvSpPr txBox="1">
            <a:spLocks/>
          </p:cNvSpPr>
          <p:nvPr/>
        </p:nvSpPr>
        <p:spPr>
          <a:xfrm>
            <a:off x="9687915" y="859548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Obsolescenc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CD9D2FA-7612-C113-5A85-0B6A1CBF02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44009" y="2100511"/>
            <a:ext cx="651963" cy="224400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DE40825-15C1-A3B1-CF83-A592C9C606D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18358" y="2022132"/>
            <a:ext cx="871795" cy="2270285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2843EA74-3CA0-32EE-97D2-0BE4CC6FF976}"/>
              </a:ext>
            </a:extLst>
          </p:cNvPr>
          <p:cNvSpPr/>
          <p:nvPr/>
        </p:nvSpPr>
        <p:spPr>
          <a:xfrm>
            <a:off x="9696009" y="1456871"/>
            <a:ext cx="1864613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400" b="1" cap="none" spc="0" dirty="0">
                <a:ln w="0"/>
                <a:effectLst>
                  <a:reflection blurRad="6350" stA="53000" endA="300" endPos="35500" dir="5400000" sy="-90000" algn="bl" rotWithShape="0"/>
                </a:effectLst>
              </a:rPr>
              <a:t>Encoder Relocatio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38AA63B-83C4-8A2F-B17B-7F5A28BBE2C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98706" y="4655900"/>
            <a:ext cx="1501398" cy="50046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3D4853D-A035-E78C-3BF7-E976A88FF62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79328" y="4893948"/>
            <a:ext cx="1597510" cy="1621002"/>
          </a:xfrm>
          <a:prstGeom prst="rect">
            <a:avLst/>
          </a:prstGeom>
        </p:spPr>
      </p:pic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60D1BAB6-EA5B-96E2-2D45-8297BF8DB52B}"/>
              </a:ext>
            </a:extLst>
          </p:cNvPr>
          <p:cNvSpPr/>
          <p:nvPr/>
        </p:nvSpPr>
        <p:spPr>
          <a:xfrm rot="10800000">
            <a:off x="4201675" y="5560863"/>
            <a:ext cx="577553" cy="404791"/>
          </a:xfrm>
          <a:prstGeom prst="rightArrow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err="1"/>
          </a:p>
        </p:txBody>
      </p:sp>
      <p:sp>
        <p:nvSpPr>
          <p:cNvPr id="20" name="Freccia a destra 9">
            <a:extLst>
              <a:ext uri="{FF2B5EF4-FFF2-40B4-BE49-F238E27FC236}">
                <a16:creationId xmlns:a16="http://schemas.microsoft.com/office/drawing/2014/main" id="{8CEA2539-DF2F-1714-EAE0-D45715A308DB}"/>
              </a:ext>
            </a:extLst>
          </p:cNvPr>
          <p:cNvSpPr/>
          <p:nvPr/>
        </p:nvSpPr>
        <p:spPr>
          <a:xfrm rot="10800000">
            <a:off x="6570247" y="5919641"/>
            <a:ext cx="383149" cy="177110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369EB69-C7F5-8F5D-2E57-2699B773653E}"/>
              </a:ext>
            </a:extLst>
          </p:cNvPr>
          <p:cNvSpPr txBox="1"/>
          <p:nvPr/>
        </p:nvSpPr>
        <p:spPr>
          <a:xfrm>
            <a:off x="6627065" y="4753798"/>
            <a:ext cx="29984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4400" b="1" i="0" u="none" strike="noStrike" kern="1200" baseline="0" noProof="0">
                <a:solidFill>
                  <a:srgbClr val="00B05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lang="en-GB" sz="4400" b="1" i="0" u="none" strike="noStrike" kern="1200" baseline="0" noProof="0">
              <a:solidFill>
                <a:srgbClr val="00B05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A57C6E71-53AC-9EB3-4F9F-9B88C15A17B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824189" y="4956011"/>
            <a:ext cx="1302301" cy="1577503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644134F8-1ADA-A168-1CB7-8FA1B9EBDF3F}"/>
              </a:ext>
            </a:extLst>
          </p:cNvPr>
          <p:cNvSpPr txBox="1"/>
          <p:nvPr/>
        </p:nvSpPr>
        <p:spPr>
          <a:xfrm>
            <a:off x="4377101" y="6171394"/>
            <a:ext cx="3318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err="1">
                <a:solidFill>
                  <a:srgbClr val="E74B00"/>
                </a:solidFill>
              </a:rPr>
              <a:t>after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0D0F9921-E0B5-82C8-F409-AB9F119A2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6466" y="5435737"/>
            <a:ext cx="830839" cy="64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A24F73A-93E8-7E8E-0124-01B0E75896A9}"/>
              </a:ext>
            </a:extLst>
          </p:cNvPr>
          <p:cNvSpPr/>
          <p:nvPr/>
        </p:nvSpPr>
        <p:spPr>
          <a:xfrm>
            <a:off x="7124873" y="5914439"/>
            <a:ext cx="902371" cy="173207"/>
          </a:xfrm>
          <a:prstGeom prst="rect">
            <a:avLst/>
          </a:prstGeom>
          <a:noFill/>
          <a:ln w="12700">
            <a:solidFill>
              <a:srgbClr val="E74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err="1"/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B8E7B702-8A1C-1AF4-D8D1-C472EB86E49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16200000">
            <a:off x="4899038" y="5088196"/>
            <a:ext cx="1570532" cy="158945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4E001AB9-FD49-20B5-4675-DCED404553A8}"/>
              </a:ext>
            </a:extLst>
          </p:cNvPr>
          <p:cNvSpPr txBox="1">
            <a:spLocks/>
          </p:cNvSpPr>
          <p:nvPr/>
        </p:nvSpPr>
        <p:spPr>
          <a:xfrm>
            <a:off x="2673485" y="3331869"/>
            <a:ext cx="6777521" cy="1292550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00000"/>
              </a:lnSpc>
              <a:spcBef>
                <a:spcPts val="300"/>
              </a:spcBef>
              <a:buClr>
                <a:srgbClr val="E74B00"/>
              </a:buClr>
            </a:pPr>
            <a:r>
              <a:rPr lang="fr-FR" altLang="fr-FR" sz="1100" noProof="1"/>
              <a:t>no more vibrations / communication issue from the encoder.</a:t>
            </a:r>
          </a:p>
          <a:p>
            <a:pPr marL="0" lvl="1">
              <a:lnSpc>
                <a:spcPct val="100000"/>
              </a:lnSpc>
              <a:spcBef>
                <a:spcPts val="300"/>
              </a:spcBef>
              <a:buClr>
                <a:srgbClr val="E74B00"/>
              </a:buClr>
            </a:pPr>
            <a:r>
              <a:rPr lang="en-US" altLang="fr-FR" sz="1100" dirty="0"/>
              <a:t>maintenance operation done at ground level, in an easy access area (operation in safe condition)</a:t>
            </a:r>
            <a:endParaRPr lang="en-GB" altLang="fr-FR" sz="1100" noProof="1"/>
          </a:p>
          <a:p>
            <a:pPr marL="0" indent="0">
              <a:lnSpc>
                <a:spcPct val="150000"/>
              </a:lnSpc>
              <a:buClr>
                <a:srgbClr val="E74B00"/>
              </a:buClr>
              <a:buNone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Encoder relocation will provide the replacement of obsolete encoder (</a:t>
            </a:r>
            <a:r>
              <a:rPr lang="en-US" sz="1100" dirty="0" err="1">
                <a:solidFill>
                  <a:srgbClr val="000000"/>
                </a:solidFill>
                <a:latin typeface="Arial" panose="020B0604020202020204" pitchFamily="34" charset="0"/>
              </a:rPr>
              <a:t>Baumer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) as well</a:t>
            </a:r>
          </a:p>
          <a:p>
            <a:pPr>
              <a:lnSpc>
                <a:spcPct val="100000"/>
              </a:lnSpc>
              <a:buClr>
                <a:srgbClr val="E74B00"/>
              </a:buClr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000000"/>
                </a:solidFill>
              </a:rPr>
              <a:t>n</a:t>
            </a:r>
            <a:r>
              <a:rPr lang="en-US" sz="1100" dirty="0" err="1">
                <a:solidFill>
                  <a:srgbClr val="000000"/>
                </a:solidFill>
              </a:rPr>
              <a:t>ew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altLang="it-IT" sz="1100" kern="0" dirty="0">
                <a:solidFill>
                  <a:srgbClr val="000000"/>
                </a:solidFill>
                <a:ea typeface="ＭＳ Ｐゴシック"/>
              </a:rPr>
              <a:t>ABSOLUTE ENCODER D06 L10 IP65 </a:t>
            </a:r>
            <a:r>
              <a:rPr lang="en-US" altLang="it-IT" sz="1100" b="1" i="1" kern="0" dirty="0">
                <a:solidFill>
                  <a:srgbClr val="000000"/>
                </a:solidFill>
                <a:ea typeface="ＭＳ Ｐゴシック"/>
              </a:rPr>
              <a:t>– TR Electronics  </a:t>
            </a:r>
            <a:r>
              <a:rPr lang="en-US" sz="1100" dirty="0">
                <a:solidFill>
                  <a:srgbClr val="000000"/>
                </a:solidFill>
              </a:rPr>
              <a:t>with specific gear train and bracket</a:t>
            </a:r>
          </a:p>
          <a:p>
            <a:pPr>
              <a:lnSpc>
                <a:spcPct val="100000"/>
              </a:lnSpc>
              <a:buClr>
                <a:srgbClr val="E74B00"/>
              </a:buClr>
            </a:pPr>
            <a:r>
              <a:rPr lang="en-US" sz="1100" dirty="0">
                <a:solidFill>
                  <a:srgbClr val="000000"/>
                </a:solidFill>
              </a:rPr>
              <a:t>new electrical link on electrical rotary union</a:t>
            </a:r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4D6FE556-5978-1E39-ECE5-EE1DBEF3C467}"/>
              </a:ext>
            </a:extLst>
          </p:cNvPr>
          <p:cNvCxnSpPr>
            <a:cxnSpLocks/>
          </p:cNvCxnSpPr>
          <p:nvPr/>
        </p:nvCxnSpPr>
        <p:spPr>
          <a:xfrm flipH="1">
            <a:off x="9246386" y="3767863"/>
            <a:ext cx="449623" cy="110691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71203CA6-C002-9539-9371-2AF5C5DB04CD}"/>
              </a:ext>
            </a:extLst>
          </p:cNvPr>
          <p:cNvSpPr txBox="1"/>
          <p:nvPr/>
        </p:nvSpPr>
        <p:spPr>
          <a:xfrm>
            <a:off x="7993017" y="4707382"/>
            <a:ext cx="3586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4800" b="1" i="0" u="none" strike="noStrike" kern="1200" baseline="0" noProof="0" dirty="0">
                <a:solidFill>
                  <a:srgbClr val="FF000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</a:t>
            </a:r>
            <a:endParaRPr lang="en-GB" sz="4800" b="1" i="0" u="none" strike="noStrike" kern="1200" baseline="0" noProof="0" dirty="0">
              <a:solidFill>
                <a:srgbClr val="FF000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71F7E61-A7C9-060A-28DD-55351836EC82}"/>
              </a:ext>
            </a:extLst>
          </p:cNvPr>
          <p:cNvSpPr/>
          <p:nvPr/>
        </p:nvSpPr>
        <p:spPr>
          <a:xfrm>
            <a:off x="6659685" y="6253340"/>
            <a:ext cx="139653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400" b="1" cap="none" spc="0" dirty="0">
                <a:ln w="0"/>
                <a:effectLst>
                  <a:reflection blurRad="6350" stA="53000" endA="300" endPos="35500" dir="5400000" sy="-90000" algn="bl" rotWithShape="0"/>
                </a:effectLst>
              </a:rPr>
              <a:t>Encoder</a:t>
            </a:r>
          </a:p>
          <a:p>
            <a:pPr algn="ctr"/>
            <a:r>
              <a:rPr lang="fr-FR" sz="1400" b="1" cap="none" spc="0" dirty="0">
                <a:ln w="0"/>
                <a:effectLst>
                  <a:reflection blurRad="6350" stA="53000" endA="300" endPos="35500" dir="5400000" sy="-90000" algn="bl" rotWithShape="0"/>
                </a:effectLst>
              </a:rPr>
              <a:t>Obsolescence</a:t>
            </a:r>
          </a:p>
        </p:txBody>
      </p:sp>
      <p:sp>
        <p:nvSpPr>
          <p:cNvPr id="39" name="Segnaposto testo 13">
            <a:extLst>
              <a:ext uri="{FF2B5EF4-FFF2-40B4-BE49-F238E27FC236}">
                <a16:creationId xmlns:a16="http://schemas.microsoft.com/office/drawing/2014/main" id="{F53BD1C5-F8B3-A10B-3E62-48B3047F93C8}"/>
              </a:ext>
            </a:extLst>
          </p:cNvPr>
          <p:cNvSpPr txBox="1">
            <a:spLocks/>
          </p:cNvSpPr>
          <p:nvPr/>
        </p:nvSpPr>
        <p:spPr>
          <a:xfrm>
            <a:off x="213666" y="2061667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/A : machine uptime</a:t>
            </a: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1FAE3721-2E1F-2414-CEAF-451B4C4BA70F}"/>
              </a:ext>
            </a:extLst>
          </p:cNvPr>
          <p:cNvSpPr txBox="1"/>
          <p:nvPr/>
        </p:nvSpPr>
        <p:spPr>
          <a:xfrm>
            <a:off x="213666" y="1849825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2900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4" ma:contentTypeDescription="Crée un document." ma:contentTypeScope="" ma:versionID="c00c8da5ded57f406c81a5b0a0f60841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e27a90a5fe9e8634ebae81736122fd0b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11E9C55-45EA-491D-8BBB-1DB9822F9D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5dec9a-9e8b-443d-b3d9-4436fe769d7c"/>
    <ds:schemaRef ds:uri="287c254b-2107-4f11-bbf4-c30bafcb04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4498</TotalTime>
  <Words>255</Words>
  <Application>Microsoft Office PowerPoint</Application>
  <PresentationFormat>Grand écran</PresentationFormat>
  <Paragraphs>4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Faure, Didier</cp:lastModifiedBy>
  <cp:revision>91</cp:revision>
  <dcterms:created xsi:type="dcterms:W3CDTF">2024-01-15T16:40:48Z</dcterms:created>
  <dcterms:modified xsi:type="dcterms:W3CDTF">2026-02-24T10:0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